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pitchFamily="2" charset="0"/>
      <p:regular r:id="rId11"/>
      <p:bold r:id="rId12"/>
      <p:italic r:id="rId13"/>
      <p:boldItalic r:id="rId14"/>
    </p:embeddedFont>
    <p:embeddedFont>
      <p:font typeface="Montserrat Light" panose="00000400000000000000" pitchFamily="2" charset="0"/>
      <p:regular r:id="rId15"/>
      <p:italic r:id="rId16"/>
    </p:embeddedFont>
    <p:embeddedFont>
      <p:font typeface="Montserrat SemiBold" panose="00000700000000000000" pitchFamily="2" charset="0"/>
      <p:bold r:id="rId17"/>
      <p:boldItalic r:id="rId18"/>
    </p:embeddedFont>
    <p:embeddedFont>
      <p:font typeface="Open Sans" panose="020B0606030504020204" pitchFamily="34"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55671A-50BB-43B1-8535-2336391658ED}" v="1" dt="2025-01-24T09:23:40.80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200" d="100"/>
          <a:sy n="200" d="100"/>
        </p:scale>
        <p:origin x="378" y="-8442"/>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us Kümmerle" userId="edb588ad-b118-44cb-93b6-335b967c9009" providerId="ADAL" clId="{6055671A-50BB-43B1-8535-2336391658ED}"/>
    <pc:docChg chg="custSel modSld">
      <pc:chgData name="Markus Kümmerle" userId="edb588ad-b118-44cb-93b6-335b967c9009" providerId="ADAL" clId="{6055671A-50BB-43B1-8535-2336391658ED}" dt="2025-01-24T09:24:11.880" v="16" actId="1076"/>
      <pc:docMkLst>
        <pc:docMk/>
      </pc:docMkLst>
      <pc:sldChg chg="addSp delSp modSp mod">
        <pc:chgData name="Markus Kümmerle" userId="edb588ad-b118-44cb-93b6-335b967c9009" providerId="ADAL" clId="{6055671A-50BB-43B1-8535-2336391658ED}" dt="2025-01-24T09:24:11.880" v="16" actId="1076"/>
        <pc:sldMkLst>
          <pc:docMk/>
          <pc:sldMk cId="753175953" sldId="2056"/>
        </pc:sldMkLst>
        <pc:spChg chg="mod">
          <ac:chgData name="Markus Kümmerle" userId="edb588ad-b118-44cb-93b6-335b967c9009" providerId="ADAL" clId="{6055671A-50BB-43B1-8535-2336391658ED}" dt="2025-01-24T09:17:48.040" v="9" actId="20577"/>
          <ac:spMkLst>
            <pc:docMk/>
            <pc:sldMk cId="753175953" sldId="2056"/>
            <ac:spMk id="12" creationId="{70463976-1354-BDDA-18A9-EEFA0BB1625A}"/>
          </ac:spMkLst>
        </pc:spChg>
        <pc:picChg chg="del">
          <ac:chgData name="Markus Kümmerle" userId="edb588ad-b118-44cb-93b6-335b967c9009" providerId="ADAL" clId="{6055671A-50BB-43B1-8535-2336391658ED}" dt="2025-01-24T09:23:39.946" v="10" actId="478"/>
          <ac:picMkLst>
            <pc:docMk/>
            <pc:sldMk cId="753175953" sldId="2056"/>
            <ac:picMk id="2" creationId="{DECCF92E-6CAB-DF67-8467-3A9F4FE01129}"/>
          </ac:picMkLst>
        </pc:picChg>
        <pc:picChg chg="add mod">
          <ac:chgData name="Markus Kümmerle" userId="edb588ad-b118-44cb-93b6-335b967c9009" providerId="ADAL" clId="{6055671A-50BB-43B1-8535-2336391658ED}" dt="2025-01-24T09:24:11.880" v="16" actId="1076"/>
          <ac:picMkLst>
            <pc:docMk/>
            <pc:sldMk cId="753175953" sldId="2056"/>
            <ac:picMk id="3" creationId="{F44F88F7-81A7-8F22-8638-21ACDF9A0CB2}"/>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pChg chg="mod">
          <ac:chgData name="Kümmerle, Markus" userId="edb588ad-b118-44cb-93b6-335b967c9009" providerId="ADAL" clId="{34666427-7FCB-4FA7-A3B4-9E6503AF3227}" dt="2024-09-11T13:28:03.117" v="26" actId="20577"/>
          <ac:spMkLst>
            <pc:docMk/>
            <pc:sldMk cId="753175953" sldId="2056"/>
            <ac:spMk id="12" creationId="{70463976-1354-BDDA-18A9-EEFA0BB1625A}"/>
          </ac:spMkLst>
        </pc:spChg>
        <pc:picChg chg="add del mod">
          <ac:chgData name="Kümmerle, Markus" userId="edb588ad-b118-44cb-93b6-335b967c9009" providerId="ADAL" clId="{34666427-7FCB-4FA7-A3B4-9E6503AF3227}" dt="2024-09-11T13:24:58.317" v="15" actId="478"/>
          <ac:picMkLst>
            <pc:docMk/>
            <pc:sldMk cId="753175953" sldId="2056"/>
            <ac:picMk id="2" creationId="{4D1B7377-AA9A-D811-5416-833484973983}"/>
          </ac:picMkLst>
        </pc:picChg>
        <pc:picChg chg="del">
          <ac:chgData name="Kümmerle, Markus" userId="edb588ad-b118-44cb-93b6-335b967c9009" providerId="ADAL" clId="{34666427-7FCB-4FA7-A3B4-9E6503AF3227}" dt="2024-09-11T13:21:28.288" v="0" actId="478"/>
          <ac:picMkLst>
            <pc:docMk/>
            <pc:sldMk cId="753175953" sldId="2056"/>
            <ac:picMk id="3" creationId="{979A4C29-DD51-5CC7-4E6E-F575F59A39E2}"/>
          </ac:picMkLst>
        </pc:picChg>
        <pc:picChg chg="add mod">
          <ac:chgData name="Kümmerle, Markus" userId="edb588ad-b118-44cb-93b6-335b967c9009" providerId="ADAL" clId="{34666427-7FCB-4FA7-A3B4-9E6503AF3227}" dt="2024-09-11T13:29:06.421" v="31" actId="1035"/>
          <ac:picMkLst>
            <pc:docMk/>
            <pc:sldMk cId="753175953" sldId="2056"/>
            <ac:picMk id="15" creationId="{65489179-D576-67C4-FCC6-C7E5A5B75B40}"/>
          </ac:picMkLst>
        </pc:picChg>
      </pc:sldChg>
    </pc:docChg>
  </pc:docChgLst>
  <pc:docChgLst>
    <pc:chgData name="Kümmerle, Markus" userId="edb588ad-b118-44cb-93b6-335b967c9009" providerId="ADAL" clId="{D2DCF2E7-8E35-44EA-AF39-7F465D266750}"/>
    <pc:docChg chg="custSel modSld">
      <pc:chgData name="Kümmerle, Markus" userId="edb588ad-b118-44cb-93b6-335b967c9009" providerId="ADAL" clId="{D2DCF2E7-8E35-44EA-AF39-7F465D266750}" dt="2024-12-18T13:41:55.169" v="4" actId="14100"/>
      <pc:docMkLst>
        <pc:docMk/>
      </pc:docMkLst>
      <pc:sldChg chg="addSp delSp modSp mod">
        <pc:chgData name="Kümmerle, Markus" userId="edb588ad-b118-44cb-93b6-335b967c9009" providerId="ADAL" clId="{D2DCF2E7-8E35-44EA-AF39-7F465D266750}" dt="2024-12-18T13:41:55.169" v="4" actId="14100"/>
        <pc:sldMkLst>
          <pc:docMk/>
          <pc:sldMk cId="753175953" sldId="2056"/>
        </pc:sldMkLst>
        <pc:picChg chg="add mod">
          <ac:chgData name="Kümmerle, Markus" userId="edb588ad-b118-44cb-93b6-335b967c9009" providerId="ADAL" clId="{D2DCF2E7-8E35-44EA-AF39-7F465D266750}" dt="2024-12-18T13:41:55.169" v="4" actId="14100"/>
          <ac:picMkLst>
            <pc:docMk/>
            <pc:sldMk cId="753175953" sldId="2056"/>
            <ac:picMk id="2" creationId="{DECCF92E-6CAB-DF67-8467-3A9F4FE01129}"/>
          </ac:picMkLst>
        </pc:picChg>
        <pc:picChg chg="del">
          <ac:chgData name="Kümmerle, Markus" userId="edb588ad-b118-44cb-93b6-335b967c9009" providerId="ADAL" clId="{D2DCF2E7-8E35-44EA-AF39-7F465D266750}" dt="2024-12-18T13:41:40.743" v="0" actId="478"/>
          <ac:picMkLst>
            <pc:docMk/>
            <pc:sldMk cId="753175953" sldId="2056"/>
            <ac:picMk id="3" creationId="{010DBF70-74A2-EE62-076E-8F678C2687E9}"/>
          </ac:picMkLst>
        </pc:picChg>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Markus Kümmerle" userId="edb588ad-b118-44cb-93b6-335b967c9009" providerId="ADAL" clId="{D2DCF2E7-8E35-44EA-AF39-7F465D266750}"/>
    <pc:docChg chg="custSel modSld">
      <pc:chgData name="Markus Kümmerle" userId="edb588ad-b118-44cb-93b6-335b967c9009" providerId="ADAL" clId="{D2DCF2E7-8E35-44EA-AF39-7F465D266750}" dt="2024-12-17T13:38:41.904" v="14" actId="1076"/>
      <pc:docMkLst>
        <pc:docMk/>
      </pc:docMkLst>
      <pc:sldChg chg="addSp delSp modSp mod">
        <pc:chgData name="Markus Kümmerle" userId="edb588ad-b118-44cb-93b6-335b967c9009" providerId="ADAL" clId="{D2DCF2E7-8E35-44EA-AF39-7F465D266750}" dt="2024-12-17T13:38:41.904" v="14" actId="1076"/>
        <pc:sldMkLst>
          <pc:docMk/>
          <pc:sldMk cId="753175953" sldId="2056"/>
        </pc:sldMkLst>
        <pc:spChg chg="mod">
          <ac:chgData name="Markus Kümmerle" userId="edb588ad-b118-44cb-93b6-335b967c9009" providerId="ADAL" clId="{D2DCF2E7-8E35-44EA-AF39-7F465D266750}" dt="2024-12-17T13:35:34.875" v="7" actId="20577"/>
          <ac:spMkLst>
            <pc:docMk/>
            <pc:sldMk cId="753175953" sldId="2056"/>
            <ac:spMk id="12" creationId="{70463976-1354-BDDA-18A9-EEFA0BB1625A}"/>
          </ac:spMkLst>
        </pc:spChg>
        <pc:picChg chg="del">
          <ac:chgData name="Markus Kümmerle" userId="edb588ad-b118-44cb-93b6-335b967c9009" providerId="ADAL" clId="{D2DCF2E7-8E35-44EA-AF39-7F465D266750}" dt="2024-12-17T13:38:18.683" v="8" actId="478"/>
          <ac:picMkLst>
            <pc:docMk/>
            <pc:sldMk cId="753175953" sldId="2056"/>
            <ac:picMk id="2" creationId="{9A8879A2-373D-FBD1-63D7-B6B0D885E516}"/>
          </ac:picMkLst>
        </pc:picChg>
        <pc:picChg chg="add mod">
          <ac:chgData name="Markus Kümmerle" userId="edb588ad-b118-44cb-93b6-335b967c9009" providerId="ADAL" clId="{D2DCF2E7-8E35-44EA-AF39-7F465D266750}" dt="2024-12-17T13:38:41.904" v="14" actId="1076"/>
          <ac:picMkLst>
            <pc:docMk/>
            <pc:sldMk cId="753175953" sldId="2056"/>
            <ac:picMk id="3" creationId="{010DBF70-74A2-EE62-076E-8F678C2687E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4.01.2025</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96024" cy="215444"/>
          </a:xfrm>
          <a:prstGeom prst="rect">
            <a:avLst/>
          </a:prstGeom>
          <a:noFill/>
        </p:spPr>
        <p:txBody>
          <a:bodyPr wrap="none" rtlCol="0">
            <a:spAutoFit/>
          </a:bodyPr>
          <a:lstStyle/>
          <a:p>
            <a:r>
              <a:rPr lang="de-DE" sz="800" dirty="0">
                <a:latin typeface="Montserrat Light" panose="00000400000000000000" pitchFamily="2" charset="0"/>
              </a:rPr>
              <a:t>24.01.2025</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3" name="Grafik 2">
            <a:extLst>
              <a:ext uri="{FF2B5EF4-FFF2-40B4-BE49-F238E27FC236}">
                <a16:creationId xmlns:a16="http://schemas.microsoft.com/office/drawing/2014/main" id="{F44F88F7-81A7-8F22-8638-21ACDF9A0CB2}"/>
              </a:ext>
            </a:extLst>
          </p:cNvPr>
          <p:cNvPicPr>
            <a:picLocks noChangeAspect="1"/>
          </p:cNvPicPr>
          <p:nvPr/>
        </p:nvPicPr>
        <p:blipFill>
          <a:blip r:embed="rId7"/>
          <a:stretch>
            <a:fillRect/>
          </a:stretch>
        </p:blipFill>
        <p:spPr>
          <a:xfrm>
            <a:off x="436866" y="7548714"/>
            <a:ext cx="5848331" cy="2357286"/>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Calibri</vt:lpstr>
      <vt:lpstr>Montserrat Light</vt:lpstr>
      <vt:lpstr>FlexoSoft</vt:lpstr>
      <vt:lpstr>Wingdings 2</vt:lpstr>
      <vt:lpstr>Wingdings</vt:lpstr>
      <vt:lpstr>Arial</vt:lpstr>
      <vt:lpstr>Open Sans</vt:lpstr>
      <vt:lpstr>Montserrat SemiBold</vt:lpstr>
      <vt:lpstr>Montserra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Markus Kümmerle</cp:lastModifiedBy>
  <cp:revision>21</cp:revision>
  <cp:lastPrinted>2024-08-09T14:32:42Z</cp:lastPrinted>
  <dcterms:created xsi:type="dcterms:W3CDTF">2023-03-22T17:04:48Z</dcterms:created>
  <dcterms:modified xsi:type="dcterms:W3CDTF">2025-01-24T09:2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